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6" r:id="rId1"/>
    <p:sldMasterId id="2147483745" r:id="rId2"/>
    <p:sldMasterId id="2147483764" r:id="rId3"/>
    <p:sldMasterId id="2147483780" r:id="rId4"/>
  </p:sldMasterIdLst>
  <p:notesMasterIdLst>
    <p:notesMasterId r:id="rId13"/>
  </p:notesMasterIdLst>
  <p:handoutMasterIdLst>
    <p:handoutMasterId r:id="rId14"/>
  </p:handoutMasterIdLst>
  <p:sldIdLst>
    <p:sldId id="488" r:id="rId5"/>
    <p:sldId id="522" r:id="rId6"/>
    <p:sldId id="521" r:id="rId7"/>
    <p:sldId id="491" r:id="rId8"/>
    <p:sldId id="520" r:id="rId9"/>
    <p:sldId id="523" r:id="rId10"/>
    <p:sldId id="524" r:id="rId11"/>
    <p:sldId id="519" r:id="rId1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615" autoAdjust="0"/>
    <p:restoredTop sz="99467" autoAdjust="0"/>
  </p:normalViewPr>
  <p:slideViewPr>
    <p:cSldViewPr>
      <p:cViewPr varScale="1">
        <p:scale>
          <a:sx n="97" d="100"/>
          <a:sy n="97" d="100"/>
        </p:scale>
        <p:origin x="-594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0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4" d="100"/>
          <a:sy n="74" d="100"/>
        </p:scale>
        <p:origin x="-2676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01D96D-FC27-4F6D-8283-212B6D9D2588}" type="datetimeFigureOut">
              <a:rPr lang="en-US" smtClean="0"/>
              <a:t>9/23/2013</a:t>
            </a:fld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56721F-3142-4430-8D90-F65A8722CF39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66280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11FD3E-2E3D-48B0-9773-47D6C4212C5A}" type="datetimeFigureOut">
              <a:rPr lang="fr-FR" smtClean="0"/>
              <a:pPr/>
              <a:t>23/09/201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A74920-7E26-45EE-AE79-5E99C471C44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966854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5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4.pn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>
            <a:spLocks noGrp="1"/>
          </p:cNvSpPr>
          <p:nvPr>
            <p:ph type="ctrTitle" hasCustomPrompt="1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E LA PRÉSENTATION 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ous-titre de la présentation</a:t>
            </a:r>
            <a:endParaRPr lang="fr-FR" dirty="0"/>
          </a:p>
        </p:txBody>
      </p:sp>
      <p:grpSp>
        <p:nvGrpSpPr>
          <p:cNvPr id="2" name="Groupe 1"/>
          <p:cNvGrpSpPr/>
          <p:nvPr/>
        </p:nvGrpSpPr>
        <p:grpSpPr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29" name="Rectangle 28"/>
            <p:cNvSpPr/>
            <p:nvPr userDrawn="1"/>
          </p:nvSpPr>
          <p:spPr>
            <a:xfrm>
              <a:off x="0" y="5948363"/>
              <a:ext cx="9144000" cy="648989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fr-FR" dirty="0"/>
            </a:p>
          </p:txBody>
        </p:sp>
        <p:cxnSp>
          <p:nvCxnSpPr>
            <p:cNvPr id="18" name="Connecteur droit 17"/>
            <p:cNvCxnSpPr/>
            <p:nvPr userDrawn="1"/>
          </p:nvCxnSpPr>
          <p:spPr>
            <a:xfrm>
              <a:off x="8418026" y="5948363"/>
              <a:ext cx="0" cy="66591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 userDrawn="1"/>
          </p:nvCxnSpPr>
          <p:spPr>
            <a:xfrm>
              <a:off x="2636240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12"/>
            <p:cNvGrpSpPr/>
            <p:nvPr userDrawn="1"/>
          </p:nvGrpSpPr>
          <p:grpSpPr>
            <a:xfrm>
              <a:off x="899592" y="6525344"/>
              <a:ext cx="1616336" cy="250473"/>
              <a:chOff x="899592" y="6485176"/>
              <a:chExt cx="1616336" cy="250473"/>
            </a:xfrm>
          </p:grpSpPr>
          <p:pic>
            <p:nvPicPr>
              <p:cNvPr id="14" name="Image 13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9592" y="6485176"/>
                <a:ext cx="219164" cy="250473"/>
              </a:xfrm>
              <a:prstGeom prst="rect">
                <a:avLst/>
              </a:prstGeom>
            </p:spPr>
          </p:pic>
          <p:pic>
            <p:nvPicPr>
              <p:cNvPr id="16" name="Image 1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17462" y="6532499"/>
                <a:ext cx="398466" cy="175325"/>
              </a:xfrm>
              <a:prstGeom prst="rect">
                <a:avLst/>
              </a:prstGeom>
            </p:spPr>
          </p:pic>
          <p:pic>
            <p:nvPicPr>
              <p:cNvPr id="17" name="Image 1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59631" y="6541951"/>
                <a:ext cx="702053" cy="179414"/>
              </a:xfrm>
              <a:prstGeom prst="rect">
                <a:avLst/>
              </a:prstGeom>
            </p:spPr>
          </p:pic>
        </p:grpSp>
        <p:sp>
          <p:nvSpPr>
            <p:cNvPr id="19" name="Titre 5"/>
            <p:cNvSpPr txBox="1">
              <a:spLocks/>
            </p:cNvSpPr>
            <p:nvPr userDrawn="1"/>
          </p:nvSpPr>
          <p:spPr>
            <a:xfrm>
              <a:off x="2742304" y="6613200"/>
              <a:ext cx="2045720" cy="15029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8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ts val="1000"/>
                </a:lnSpc>
              </a:pPr>
              <a:r>
                <a:rPr lang="fr-FR" sz="1600" b="1" spc="10" baseline="0" dirty="0" smtClean="0">
                  <a:solidFill>
                    <a:schemeClr val="bg2"/>
                  </a:solidFill>
                  <a:latin typeface="+mn-lt"/>
                  <a:cs typeface="Arial" pitchFamily="34" charset="0"/>
                </a:rPr>
                <a:t>www.groupe-sii.com</a:t>
              </a:r>
              <a:endParaRPr lang="fr-FR" sz="1600" b="1" spc="10" baseline="0" dirty="0">
                <a:solidFill>
                  <a:schemeClr val="bg2"/>
                </a:solidFill>
                <a:latin typeface="+mn-lt"/>
                <a:cs typeface="Arial" pitchFamily="34" charset="0"/>
              </a:endParaRPr>
            </a:p>
          </p:txBody>
        </p:sp>
      </p:grpSp>
      <p:sp>
        <p:nvSpPr>
          <p:cNvPr id="15" name="Espace réservé de la date 3"/>
          <p:cNvSpPr txBox="1">
            <a:spLocks/>
          </p:cNvSpPr>
          <p:nvPr/>
        </p:nvSpPr>
        <p:spPr>
          <a:xfrm>
            <a:off x="7077600" y="6429600"/>
            <a:ext cx="1066800" cy="323165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200" b="0" smtClean="0">
                <a:solidFill>
                  <a:schemeClr val="bg1"/>
                </a:solidFill>
              </a:rPr>
              <a:pPr algn="r"/>
              <a:t>23/09/2013</a:t>
            </a:fld>
            <a:endParaRPr lang="fr-FR" sz="1200" b="0" dirty="0" smtClean="0">
              <a:solidFill>
                <a:schemeClr val="bg1"/>
              </a:solidFill>
            </a:endParaRPr>
          </a:p>
          <a:p>
            <a:pPr algn="r"/>
            <a:r>
              <a:rPr lang="fr-FR" sz="900" b="0" dirty="0" smtClean="0">
                <a:solidFill>
                  <a:schemeClr val="bg1"/>
                </a:solidFill>
              </a:rPr>
              <a:t>S4-0396-01</a:t>
            </a:r>
            <a:endParaRPr lang="fr-FR" sz="500" b="0" dirty="0">
              <a:solidFill>
                <a:schemeClr val="bg1"/>
              </a:solidFill>
            </a:endParaRPr>
          </a:p>
        </p:txBody>
      </p:sp>
      <p:pic>
        <p:nvPicPr>
          <p:cNvPr id="20" name="Picture 6" descr="C:\Users\dhiridjee\Documents\02_iPMP\02_SVN\branches\V1.6.1\view\img\logo.png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53" t="-2032" r="-4534" b="1876"/>
          <a:stretch/>
        </p:blipFill>
        <p:spPr bwMode="auto">
          <a:xfrm>
            <a:off x="-7620" y="335934"/>
            <a:ext cx="2863850" cy="739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7339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8793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9330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tx2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3" name="ZoneTexte 12"/>
          <p:cNvSpPr txBox="1"/>
          <p:nvPr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23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8793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9330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1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3" name="ZoneTexte 12"/>
          <p:cNvSpPr txBox="1"/>
          <p:nvPr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23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8793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9330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77440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>
            <a:spLocks noGrp="1"/>
          </p:cNvSpPr>
          <p:nvPr>
            <p:ph type="ctrTitle" hasCustomPrompt="1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E LA PRÉSENTATION 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ous-titre de la présentation</a:t>
            </a:r>
            <a:endParaRPr lang="fr-FR" dirty="0"/>
          </a:p>
        </p:txBody>
      </p:sp>
      <p:grpSp>
        <p:nvGrpSpPr>
          <p:cNvPr id="2" name="Groupe 1"/>
          <p:cNvGrpSpPr/>
          <p:nvPr/>
        </p:nvGrpSpPr>
        <p:grpSpPr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29" name="Rectangle 28"/>
            <p:cNvSpPr/>
            <p:nvPr userDrawn="1"/>
          </p:nvSpPr>
          <p:spPr>
            <a:xfrm>
              <a:off x="0" y="5948363"/>
              <a:ext cx="9144000" cy="648989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fr-FR" dirty="0"/>
            </a:p>
          </p:txBody>
        </p:sp>
        <p:cxnSp>
          <p:nvCxnSpPr>
            <p:cNvPr id="18" name="Connecteur droit 17"/>
            <p:cNvCxnSpPr/>
            <p:nvPr userDrawn="1"/>
          </p:nvCxnSpPr>
          <p:spPr>
            <a:xfrm>
              <a:off x="8418026" y="5948363"/>
              <a:ext cx="0" cy="66591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 userDrawn="1"/>
          </p:nvCxnSpPr>
          <p:spPr>
            <a:xfrm>
              <a:off x="2636240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12"/>
            <p:cNvGrpSpPr/>
            <p:nvPr userDrawn="1"/>
          </p:nvGrpSpPr>
          <p:grpSpPr>
            <a:xfrm>
              <a:off x="899592" y="6525344"/>
              <a:ext cx="1616336" cy="250473"/>
              <a:chOff x="899592" y="6485176"/>
              <a:chExt cx="1616336" cy="250473"/>
            </a:xfrm>
          </p:grpSpPr>
          <p:pic>
            <p:nvPicPr>
              <p:cNvPr id="14" name="Image 13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9592" y="6485176"/>
                <a:ext cx="219164" cy="250473"/>
              </a:xfrm>
              <a:prstGeom prst="rect">
                <a:avLst/>
              </a:prstGeom>
            </p:spPr>
          </p:pic>
          <p:pic>
            <p:nvPicPr>
              <p:cNvPr id="16" name="Image 1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17462" y="6532499"/>
                <a:ext cx="398466" cy="175325"/>
              </a:xfrm>
              <a:prstGeom prst="rect">
                <a:avLst/>
              </a:prstGeom>
            </p:spPr>
          </p:pic>
          <p:pic>
            <p:nvPicPr>
              <p:cNvPr id="17" name="Image 1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59631" y="6541951"/>
                <a:ext cx="702053" cy="179414"/>
              </a:xfrm>
              <a:prstGeom prst="rect">
                <a:avLst/>
              </a:prstGeom>
            </p:spPr>
          </p:pic>
        </p:grpSp>
      </p:grpSp>
      <p:sp>
        <p:nvSpPr>
          <p:cNvPr id="21" name="Espace réservé de la date 3"/>
          <p:cNvSpPr txBox="1">
            <a:spLocks/>
          </p:cNvSpPr>
          <p:nvPr userDrawn="1"/>
        </p:nvSpPr>
        <p:spPr>
          <a:xfrm>
            <a:off x="7077600" y="6429600"/>
            <a:ext cx="1066800" cy="323165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200" b="0" smtClean="0">
                <a:solidFill>
                  <a:schemeClr val="bg1"/>
                </a:solidFill>
              </a:rPr>
              <a:pPr algn="r"/>
              <a:t>23/09/2013</a:t>
            </a:fld>
            <a:endParaRPr lang="fr-FR" sz="1200" b="0" dirty="0" smtClean="0">
              <a:solidFill>
                <a:schemeClr val="bg1"/>
              </a:solidFill>
            </a:endParaRPr>
          </a:p>
          <a:p>
            <a:pPr algn="r"/>
            <a:r>
              <a:rPr lang="fr-FR" sz="900" b="0" dirty="0" smtClean="0">
                <a:solidFill>
                  <a:schemeClr val="bg1"/>
                </a:solidFill>
              </a:rPr>
              <a:t>S4-0396-01</a:t>
            </a:r>
            <a:endParaRPr lang="fr-FR" sz="500" b="0" dirty="0">
              <a:solidFill>
                <a:schemeClr val="bg1"/>
              </a:solidFill>
            </a:endParaRPr>
          </a:p>
        </p:txBody>
      </p:sp>
      <p:sp>
        <p:nvSpPr>
          <p:cNvPr id="22" name="Titre 5"/>
          <p:cNvSpPr txBox="1">
            <a:spLocks/>
          </p:cNvSpPr>
          <p:nvPr userDrawn="1"/>
        </p:nvSpPr>
        <p:spPr>
          <a:xfrm>
            <a:off x="2742304" y="6613200"/>
            <a:ext cx="2045720" cy="1502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000"/>
              </a:lnSpc>
            </a:pPr>
            <a:r>
              <a:rPr lang="fr-FR" sz="1600" b="1" spc="10" baseline="0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www.groupe-sii.com</a:t>
            </a:r>
            <a:endParaRPr lang="fr-FR" sz="1600" b="1" spc="10" baseline="0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1075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3" name="ZoneTexte 2"/>
          <p:cNvSpPr txBox="1"/>
          <p:nvPr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</p:txBody>
      </p:sp>
      <p:sp>
        <p:nvSpPr>
          <p:cNvPr id="9" name="Espace réservé de la date 3"/>
          <p:cNvSpPr txBox="1">
            <a:spLocks/>
          </p:cNvSpPr>
          <p:nvPr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23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4855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23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3277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rgbClr val="88B4DC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0" y="44624"/>
            <a:ext cx="1832400" cy="288658"/>
            <a:chOff x="0" y="62656"/>
            <a:chExt cx="1831605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0" y="280759"/>
              <a:ext cx="1828800" cy="377"/>
            </a:xfrm>
            <a:prstGeom prst="line">
              <a:avLst/>
            </a:prstGeom>
            <a:ln w="1524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1" y="62656"/>
              <a:ext cx="1831604" cy="288658"/>
              <a:chOff x="-2575" y="62656"/>
              <a:chExt cx="1831604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367552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36293" y="62656"/>
                <a:ext cx="1555140" cy="247878"/>
              </a:xfrm>
              <a:prstGeom prst="rect">
                <a:avLst/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-25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23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693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0" y="44624"/>
            <a:ext cx="1832400" cy="288658"/>
            <a:chOff x="0" y="62656"/>
            <a:chExt cx="1831605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0" y="280759"/>
              <a:ext cx="1828800" cy="377"/>
            </a:xfrm>
            <a:prstGeom prst="line">
              <a:avLst/>
            </a:prstGeom>
            <a:ln w="1524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1" y="62656"/>
              <a:ext cx="1831604" cy="288658"/>
              <a:chOff x="-2575" y="62656"/>
              <a:chExt cx="1831604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67552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36293" y="62656"/>
                <a:ext cx="1555140" cy="247878"/>
              </a:xfrm>
              <a:prstGeom prst="rect">
                <a:avLst/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25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36801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0" y="44624"/>
            <a:ext cx="1832400" cy="288658"/>
            <a:chOff x="0" y="62656"/>
            <a:chExt cx="1831605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0" y="280759"/>
              <a:ext cx="1828800" cy="377"/>
            </a:xfrm>
            <a:prstGeom prst="line">
              <a:avLst/>
            </a:prstGeom>
            <a:ln w="1524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1" y="62656"/>
              <a:ext cx="1831604" cy="288658"/>
              <a:chOff x="-2575" y="62656"/>
              <a:chExt cx="1831604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67552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36293" y="62656"/>
                <a:ext cx="1555140" cy="247878"/>
              </a:xfrm>
              <a:prstGeom prst="rect">
                <a:avLst/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25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93250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3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1829900" y="44624"/>
            <a:ext cx="1829850" cy="288658"/>
            <a:chOff x="9129" y="62656"/>
            <a:chExt cx="1829850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9129" y="281136"/>
              <a:ext cx="1828800" cy="0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9129" y="62656"/>
              <a:ext cx="1829850" cy="288658"/>
              <a:chOff x="6553" y="62656"/>
              <a:chExt cx="1829850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37492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43385" y="62656"/>
                <a:ext cx="1555140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23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511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1829900" y="44624"/>
            <a:ext cx="1829850" cy="288658"/>
            <a:chOff x="9129" y="62656"/>
            <a:chExt cx="1829850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136"/>
              <a:ext cx="1828800" cy="0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1829850" cy="288658"/>
              <a:chOff x="6553" y="62656"/>
              <a:chExt cx="1829850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492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3385" y="62656"/>
                <a:ext cx="1555140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51899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1829900" y="44624"/>
            <a:ext cx="1829850" cy="288658"/>
            <a:chOff x="9129" y="62656"/>
            <a:chExt cx="1829850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136"/>
              <a:ext cx="1828800" cy="0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1829850" cy="288658"/>
              <a:chOff x="6553" y="62656"/>
              <a:chExt cx="1829850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492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3385" y="62656"/>
                <a:ext cx="1555140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63742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4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3657600" y="44624"/>
            <a:ext cx="1828800" cy="288658"/>
            <a:chOff x="9129" y="62656"/>
            <a:chExt cx="183130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9129" y="281136"/>
              <a:ext cx="1831302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9129" y="62656"/>
              <a:ext cx="1831302" cy="288658"/>
              <a:chOff x="6553" y="62656"/>
              <a:chExt cx="1831302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3763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23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933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3657600" y="44624"/>
            <a:ext cx="1828800" cy="288658"/>
            <a:chOff x="9129" y="62656"/>
            <a:chExt cx="183130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136"/>
              <a:ext cx="1831302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1831302" cy="288658"/>
              <a:chOff x="6553" y="62656"/>
              <a:chExt cx="1831302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63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42352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3657600" y="44624"/>
            <a:ext cx="1828800" cy="288658"/>
            <a:chOff x="9129" y="62656"/>
            <a:chExt cx="183130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136"/>
              <a:ext cx="1831302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1831302" cy="288658"/>
              <a:chOff x="6553" y="62656"/>
              <a:chExt cx="1831302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63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69488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457200" indent="0">
              <a:buFontTx/>
              <a:buNone/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</p:txBody>
      </p:sp>
      <p:sp>
        <p:nvSpPr>
          <p:cNvPr id="13" name="ZoneTexte 12"/>
          <p:cNvSpPr txBox="1"/>
          <p:nvPr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23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673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5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20" name="Groupe 19"/>
          <p:cNvGrpSpPr/>
          <p:nvPr userDrawn="1"/>
        </p:nvGrpSpPr>
        <p:grpSpPr>
          <a:xfrm>
            <a:off x="5486400" y="44624"/>
            <a:ext cx="1828798" cy="288658"/>
            <a:chOff x="9129" y="62656"/>
            <a:chExt cx="1831300" cy="288658"/>
          </a:xfrm>
          <a:solidFill>
            <a:schemeClr val="accent5"/>
          </a:solidFill>
        </p:grpSpPr>
        <p:cxnSp>
          <p:nvCxnSpPr>
            <p:cNvPr id="21" name="Connecteur droit 20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Groupe 21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23" name="Rectangle à coins arrondis 22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 23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5" name="Rectangle à coins arrondis 24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7" name="ZoneTexte 16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8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23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755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5486400" y="44624"/>
            <a:ext cx="1828798" cy="288658"/>
            <a:chOff x="9129" y="62656"/>
            <a:chExt cx="1831300" cy="288658"/>
          </a:xfrm>
          <a:solidFill>
            <a:schemeClr val="accent5"/>
          </a:solidFill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06122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5486400" y="44624"/>
            <a:ext cx="1828798" cy="288658"/>
            <a:chOff x="9129" y="62656"/>
            <a:chExt cx="1831300" cy="288658"/>
          </a:xfrm>
          <a:solidFill>
            <a:schemeClr val="accent5"/>
          </a:solidFill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74973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1">
                <a:solidFill>
                  <a:schemeClr val="accent6"/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 b="1"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7313323" y="44624"/>
            <a:ext cx="1828798" cy="288658"/>
            <a:chOff x="9129" y="62656"/>
            <a:chExt cx="1831300" cy="288658"/>
          </a:xfrm>
          <a:solidFill>
            <a:schemeClr val="accent6"/>
          </a:solidFill>
        </p:grpSpPr>
        <p:cxnSp>
          <p:nvCxnSpPr>
            <p:cNvPr id="13" name="Connecteur droit 12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23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319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7313323" y="44624"/>
            <a:ext cx="1828798" cy="288658"/>
            <a:chOff x="9129" y="62656"/>
            <a:chExt cx="1831300" cy="288658"/>
          </a:xfrm>
          <a:solidFill>
            <a:schemeClr val="accent6"/>
          </a:solidFill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00157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7313323" y="44624"/>
            <a:ext cx="1828798" cy="288658"/>
            <a:chOff x="9129" y="62656"/>
            <a:chExt cx="1831300" cy="288658"/>
          </a:xfrm>
          <a:solidFill>
            <a:schemeClr val="accent6"/>
          </a:solidFill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89807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C:\Users\dhiridjee\Documents\02_iPMP\02_SVN\branches\V1.6.1\view\img\logo.pn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53" t="-2032" r="-4534" b="1876"/>
          <a:stretch/>
        </p:blipFill>
        <p:spPr bwMode="auto">
          <a:xfrm>
            <a:off x="-7620" y="335934"/>
            <a:ext cx="2863850" cy="739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5384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>
            <a:spLocks noGrp="1"/>
          </p:cNvSpPr>
          <p:nvPr>
            <p:ph type="ctrTitle" hasCustomPrompt="1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E LA PRÉSENTATION 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ous-titre de la présentation</a:t>
            </a:r>
            <a:endParaRPr lang="fr-FR" dirty="0"/>
          </a:p>
        </p:txBody>
      </p:sp>
      <p:grpSp>
        <p:nvGrpSpPr>
          <p:cNvPr id="2" name="Groupe 1"/>
          <p:cNvGrpSpPr/>
          <p:nvPr/>
        </p:nvGrpSpPr>
        <p:grpSpPr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29" name="Rectangle 28"/>
            <p:cNvSpPr/>
            <p:nvPr userDrawn="1"/>
          </p:nvSpPr>
          <p:spPr>
            <a:xfrm>
              <a:off x="0" y="5948363"/>
              <a:ext cx="9144000" cy="648989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fr-FR" dirty="0"/>
            </a:p>
          </p:txBody>
        </p:sp>
        <p:cxnSp>
          <p:nvCxnSpPr>
            <p:cNvPr id="18" name="Connecteur droit 17"/>
            <p:cNvCxnSpPr/>
            <p:nvPr userDrawn="1"/>
          </p:nvCxnSpPr>
          <p:spPr>
            <a:xfrm>
              <a:off x="8418026" y="5948363"/>
              <a:ext cx="0" cy="66591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 userDrawn="1"/>
          </p:nvCxnSpPr>
          <p:spPr>
            <a:xfrm>
              <a:off x="2636240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12"/>
            <p:cNvGrpSpPr/>
            <p:nvPr userDrawn="1"/>
          </p:nvGrpSpPr>
          <p:grpSpPr>
            <a:xfrm>
              <a:off x="899592" y="6525344"/>
              <a:ext cx="1616336" cy="250473"/>
              <a:chOff x="899592" y="6485176"/>
              <a:chExt cx="1616336" cy="250473"/>
            </a:xfrm>
          </p:grpSpPr>
          <p:pic>
            <p:nvPicPr>
              <p:cNvPr id="14" name="Image 13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9592" y="6485176"/>
                <a:ext cx="219164" cy="250473"/>
              </a:xfrm>
              <a:prstGeom prst="rect">
                <a:avLst/>
              </a:prstGeom>
            </p:spPr>
          </p:pic>
          <p:pic>
            <p:nvPicPr>
              <p:cNvPr id="16" name="Image 1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17462" y="6532499"/>
                <a:ext cx="398466" cy="175325"/>
              </a:xfrm>
              <a:prstGeom prst="rect">
                <a:avLst/>
              </a:prstGeom>
            </p:spPr>
          </p:pic>
          <p:pic>
            <p:nvPicPr>
              <p:cNvPr id="17" name="Image 1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59631" y="6541951"/>
                <a:ext cx="702053" cy="179414"/>
              </a:xfrm>
              <a:prstGeom prst="rect">
                <a:avLst/>
              </a:prstGeom>
            </p:spPr>
          </p:pic>
        </p:grpSp>
      </p:grpSp>
      <p:sp>
        <p:nvSpPr>
          <p:cNvPr id="20" name="Espace réservé de la date 3"/>
          <p:cNvSpPr txBox="1">
            <a:spLocks/>
          </p:cNvSpPr>
          <p:nvPr userDrawn="1"/>
        </p:nvSpPr>
        <p:spPr>
          <a:xfrm>
            <a:off x="7077600" y="6429600"/>
            <a:ext cx="1066800" cy="323165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200" b="0" smtClean="0">
                <a:solidFill>
                  <a:schemeClr val="bg1"/>
                </a:solidFill>
              </a:rPr>
              <a:pPr algn="r"/>
              <a:t>23/09/2013</a:t>
            </a:fld>
            <a:endParaRPr lang="fr-FR" sz="1200" b="0" dirty="0" smtClean="0">
              <a:solidFill>
                <a:schemeClr val="bg1"/>
              </a:solidFill>
            </a:endParaRPr>
          </a:p>
          <a:p>
            <a:pPr algn="r"/>
            <a:r>
              <a:rPr lang="fr-FR" sz="900" b="0" dirty="0" smtClean="0">
                <a:solidFill>
                  <a:schemeClr val="bg1"/>
                </a:solidFill>
              </a:rPr>
              <a:t>S4-0396-01</a:t>
            </a:r>
            <a:endParaRPr lang="fr-FR" sz="500" b="0" dirty="0">
              <a:solidFill>
                <a:schemeClr val="bg1"/>
              </a:solidFill>
            </a:endParaRPr>
          </a:p>
        </p:txBody>
      </p:sp>
      <p:sp>
        <p:nvSpPr>
          <p:cNvPr id="21" name="Titre 5"/>
          <p:cNvSpPr txBox="1">
            <a:spLocks/>
          </p:cNvSpPr>
          <p:nvPr userDrawn="1"/>
        </p:nvSpPr>
        <p:spPr>
          <a:xfrm>
            <a:off x="2742304" y="6613200"/>
            <a:ext cx="2045720" cy="1502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000"/>
              </a:lnSpc>
            </a:pPr>
            <a:r>
              <a:rPr lang="fr-FR" sz="1600" b="1" spc="10" baseline="0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www.groupe-sii.com</a:t>
            </a:r>
            <a:endParaRPr lang="fr-FR" sz="1600" b="1" spc="10" baseline="0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9055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23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277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rgbClr val="88B4DC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19" name="Groupe 18"/>
          <p:cNvGrpSpPr/>
          <p:nvPr userDrawn="1"/>
        </p:nvGrpSpPr>
        <p:grpSpPr>
          <a:xfrm>
            <a:off x="1172" y="44624"/>
            <a:ext cx="2286442" cy="288658"/>
            <a:chOff x="2699792" y="1499718"/>
            <a:chExt cx="2286442" cy="288658"/>
          </a:xfrm>
        </p:grpSpPr>
        <p:cxnSp>
          <p:nvCxnSpPr>
            <p:cNvPr id="20" name="Connecteur droit 19"/>
            <p:cNvCxnSpPr/>
            <p:nvPr userDrawn="1"/>
          </p:nvCxnSpPr>
          <p:spPr>
            <a:xfrm flipV="1">
              <a:off x="2699792" y="1718198"/>
              <a:ext cx="2286442" cy="1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à coins arrondis 20"/>
            <p:cNvSpPr/>
            <p:nvPr userDrawn="1"/>
          </p:nvSpPr>
          <p:spPr>
            <a:xfrm>
              <a:off x="4524025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2884938" y="1499718"/>
              <a:ext cx="1916150" cy="24787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23" name="Rectangle à coins arrondis 22"/>
            <p:cNvSpPr/>
            <p:nvPr userDrawn="1"/>
          </p:nvSpPr>
          <p:spPr>
            <a:xfrm>
              <a:off x="2699792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17" name="ZoneTexte 16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8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23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962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76301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1172" y="44624"/>
            <a:ext cx="2286442" cy="288658"/>
            <a:chOff x="2699792" y="1499718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2699792" y="1718198"/>
              <a:ext cx="2286442" cy="1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4524025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884938" y="1499718"/>
              <a:ext cx="1916150" cy="24787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699792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73223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1172" y="44624"/>
            <a:ext cx="2286442" cy="288658"/>
            <a:chOff x="2699792" y="1499718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2699792" y="1718198"/>
              <a:ext cx="2286442" cy="1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4524025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2884938" y="1499718"/>
              <a:ext cx="1916150" cy="24787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699792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61675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3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2285558" y="44624"/>
            <a:ext cx="2286442" cy="288658"/>
            <a:chOff x="2285558" y="44624"/>
            <a:chExt cx="228644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2285558" y="263104"/>
              <a:ext cx="2286442" cy="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à coins arrondis 15"/>
            <p:cNvSpPr/>
            <p:nvPr userDrawn="1"/>
          </p:nvSpPr>
          <p:spPr>
            <a:xfrm>
              <a:off x="4109791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2470704" y="44624"/>
              <a:ext cx="1916150" cy="24787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8" name="Rectangle à coins arrondis 17"/>
            <p:cNvSpPr/>
            <p:nvPr userDrawn="1"/>
          </p:nvSpPr>
          <p:spPr>
            <a:xfrm>
              <a:off x="2285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20" name="ZoneTexte 19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1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23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63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2285558" y="44624"/>
            <a:ext cx="2286442" cy="288658"/>
            <a:chOff x="2285558" y="44624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2285558" y="263104"/>
              <a:ext cx="2286442" cy="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4109791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470704" y="44624"/>
              <a:ext cx="1916150" cy="24787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285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90517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2285558" y="44624"/>
            <a:ext cx="2286442" cy="288658"/>
            <a:chOff x="2285558" y="44624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2285558" y="263104"/>
              <a:ext cx="2286442" cy="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4109791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2470704" y="44624"/>
              <a:ext cx="1916150" cy="24787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285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13293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4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4572000" y="44624"/>
            <a:ext cx="2286442" cy="288658"/>
            <a:chOff x="4572000" y="44624"/>
            <a:chExt cx="228644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4572000" y="263104"/>
              <a:ext cx="2286442" cy="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à coins arrondis 15"/>
            <p:cNvSpPr/>
            <p:nvPr userDrawn="1"/>
          </p:nvSpPr>
          <p:spPr>
            <a:xfrm>
              <a:off x="6396965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4757146" y="44624"/>
              <a:ext cx="1916150" cy="24787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8" name="Rectangle à coins arrondis 17"/>
            <p:cNvSpPr/>
            <p:nvPr userDrawn="1"/>
          </p:nvSpPr>
          <p:spPr>
            <a:xfrm>
              <a:off x="4572000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20" name="ZoneTexte 19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1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23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638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4572000" y="44624"/>
            <a:ext cx="2286442" cy="288658"/>
            <a:chOff x="4572000" y="44624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4572000" y="263104"/>
              <a:ext cx="2286442" cy="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6396965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4757146" y="44624"/>
              <a:ext cx="1916150" cy="24787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4572000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14993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4572000" y="44624"/>
            <a:ext cx="2286442" cy="288658"/>
            <a:chOff x="4572000" y="44624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4572000" y="263104"/>
              <a:ext cx="2286442" cy="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6396965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4757146" y="44624"/>
              <a:ext cx="1916150" cy="24787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4572000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77361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5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6857558" y="44624"/>
            <a:ext cx="2286442" cy="288658"/>
            <a:chOff x="6857558" y="44624"/>
            <a:chExt cx="228644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6857558" y="263104"/>
              <a:ext cx="2286442" cy="1"/>
            </a:xfrm>
            <a:prstGeom prst="line">
              <a:avLst/>
            </a:prstGeom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à coins arrondis 15"/>
            <p:cNvSpPr/>
            <p:nvPr userDrawn="1"/>
          </p:nvSpPr>
          <p:spPr>
            <a:xfrm>
              <a:off x="8682523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7042704" y="44624"/>
              <a:ext cx="1916150" cy="24787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8" name="Rectangle à coins arrondis 17"/>
            <p:cNvSpPr/>
            <p:nvPr userDrawn="1"/>
          </p:nvSpPr>
          <p:spPr>
            <a:xfrm>
              <a:off x="6857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20" name="ZoneTexte 19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1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23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687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6857558" y="44624"/>
            <a:ext cx="2286442" cy="288658"/>
            <a:chOff x="6857558" y="44624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6857558" y="263104"/>
              <a:ext cx="2286442" cy="1"/>
            </a:xfrm>
            <a:prstGeom prst="line">
              <a:avLst/>
            </a:prstGeom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8682523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7042704" y="44624"/>
              <a:ext cx="1916150" cy="24787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6857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8321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25909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6857558" y="44624"/>
            <a:ext cx="2286442" cy="288658"/>
            <a:chOff x="6857558" y="44624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6857558" y="263104"/>
              <a:ext cx="2286442" cy="1"/>
            </a:xfrm>
            <a:prstGeom prst="line">
              <a:avLst/>
            </a:prstGeom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8682523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7042704" y="44624"/>
              <a:ext cx="1916150" cy="24787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6857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41781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1441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>
            <a:spLocks noGrp="1"/>
          </p:cNvSpPr>
          <p:nvPr>
            <p:ph type="ctrTitle" hasCustomPrompt="1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E LA PRÉSENTATION 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ous-titre de la présentation</a:t>
            </a:r>
            <a:endParaRPr lang="fr-FR" dirty="0"/>
          </a:p>
        </p:txBody>
      </p:sp>
      <p:grpSp>
        <p:nvGrpSpPr>
          <p:cNvPr id="2" name="Groupe 1"/>
          <p:cNvGrpSpPr/>
          <p:nvPr/>
        </p:nvGrpSpPr>
        <p:grpSpPr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29" name="Rectangle 28"/>
            <p:cNvSpPr/>
            <p:nvPr userDrawn="1"/>
          </p:nvSpPr>
          <p:spPr>
            <a:xfrm>
              <a:off x="0" y="5948363"/>
              <a:ext cx="9144000" cy="648989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fr-FR" dirty="0"/>
            </a:p>
          </p:txBody>
        </p:sp>
        <p:cxnSp>
          <p:nvCxnSpPr>
            <p:cNvPr id="18" name="Connecteur droit 17"/>
            <p:cNvCxnSpPr/>
            <p:nvPr userDrawn="1"/>
          </p:nvCxnSpPr>
          <p:spPr>
            <a:xfrm>
              <a:off x="8418026" y="5948363"/>
              <a:ext cx="0" cy="66591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 userDrawn="1"/>
          </p:nvCxnSpPr>
          <p:spPr>
            <a:xfrm>
              <a:off x="2636240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12"/>
            <p:cNvGrpSpPr/>
            <p:nvPr userDrawn="1"/>
          </p:nvGrpSpPr>
          <p:grpSpPr>
            <a:xfrm>
              <a:off x="899592" y="6525344"/>
              <a:ext cx="1616336" cy="250473"/>
              <a:chOff x="899592" y="6485176"/>
              <a:chExt cx="1616336" cy="250473"/>
            </a:xfrm>
          </p:grpSpPr>
          <p:pic>
            <p:nvPicPr>
              <p:cNvPr id="14" name="Image 13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9592" y="6485176"/>
                <a:ext cx="219164" cy="250473"/>
              </a:xfrm>
              <a:prstGeom prst="rect">
                <a:avLst/>
              </a:prstGeom>
            </p:spPr>
          </p:pic>
          <p:pic>
            <p:nvPicPr>
              <p:cNvPr id="16" name="Image 1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17462" y="6532499"/>
                <a:ext cx="398466" cy="175325"/>
              </a:xfrm>
              <a:prstGeom prst="rect">
                <a:avLst/>
              </a:prstGeom>
            </p:spPr>
          </p:pic>
          <p:pic>
            <p:nvPicPr>
              <p:cNvPr id="17" name="Image 1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59631" y="6541951"/>
                <a:ext cx="702053" cy="179414"/>
              </a:xfrm>
              <a:prstGeom prst="rect">
                <a:avLst/>
              </a:prstGeom>
            </p:spPr>
          </p:pic>
        </p:grpSp>
      </p:grpSp>
      <p:sp>
        <p:nvSpPr>
          <p:cNvPr id="20" name="Espace réservé de la date 3"/>
          <p:cNvSpPr txBox="1">
            <a:spLocks/>
          </p:cNvSpPr>
          <p:nvPr userDrawn="1"/>
        </p:nvSpPr>
        <p:spPr>
          <a:xfrm>
            <a:off x="7077600" y="6429600"/>
            <a:ext cx="1066800" cy="323165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200" b="0" smtClean="0">
                <a:solidFill>
                  <a:schemeClr val="bg1"/>
                </a:solidFill>
              </a:rPr>
              <a:pPr algn="r"/>
              <a:t>23/09/2013</a:t>
            </a:fld>
            <a:endParaRPr lang="fr-FR" sz="1200" b="0" dirty="0" smtClean="0">
              <a:solidFill>
                <a:schemeClr val="bg1"/>
              </a:solidFill>
            </a:endParaRPr>
          </a:p>
          <a:p>
            <a:pPr algn="r"/>
            <a:r>
              <a:rPr lang="fr-FR" sz="900" b="0" dirty="0" smtClean="0">
                <a:solidFill>
                  <a:schemeClr val="bg1"/>
                </a:solidFill>
              </a:rPr>
              <a:t>S4-0396-01</a:t>
            </a:r>
            <a:endParaRPr lang="fr-FR" sz="500" b="0" dirty="0">
              <a:solidFill>
                <a:schemeClr val="bg1"/>
              </a:solidFill>
            </a:endParaRPr>
          </a:p>
        </p:txBody>
      </p:sp>
      <p:sp>
        <p:nvSpPr>
          <p:cNvPr id="21" name="Titre 5"/>
          <p:cNvSpPr txBox="1">
            <a:spLocks/>
          </p:cNvSpPr>
          <p:nvPr userDrawn="1"/>
        </p:nvSpPr>
        <p:spPr>
          <a:xfrm>
            <a:off x="2742304" y="6613200"/>
            <a:ext cx="2045720" cy="1502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000"/>
              </a:lnSpc>
            </a:pPr>
            <a:r>
              <a:rPr lang="fr-FR" sz="1600" b="1" spc="10" baseline="0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www.groupe-sii.com</a:t>
            </a:r>
            <a:endParaRPr lang="fr-FR" sz="1600" b="1" spc="10" baseline="0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8027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23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528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rgbClr val="88B4DC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0" y="44624"/>
            <a:ext cx="3048442" cy="288658"/>
            <a:chOff x="-2823" y="62656"/>
            <a:chExt cx="304844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-2823" y="276225"/>
              <a:ext cx="3048442" cy="4915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-2823" y="62656"/>
              <a:ext cx="3048442" cy="288658"/>
              <a:chOff x="-5399" y="62656"/>
              <a:chExt cx="3048442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258156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79747" y="62656"/>
                <a:ext cx="2678150" cy="24787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-5399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23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0591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0" y="44624"/>
            <a:ext cx="3048442" cy="288658"/>
            <a:chOff x="-2823" y="62656"/>
            <a:chExt cx="3048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-2823" y="276225"/>
              <a:ext cx="3048442" cy="4915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-2823" y="62656"/>
              <a:ext cx="3048442" cy="288658"/>
              <a:chOff x="-5399" y="62656"/>
              <a:chExt cx="3048442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258156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79747" y="62656"/>
                <a:ext cx="2678150" cy="24787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5399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39032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0" y="44624"/>
            <a:ext cx="3048442" cy="288658"/>
            <a:chOff x="-2823" y="62656"/>
            <a:chExt cx="3048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-2823" y="276225"/>
              <a:ext cx="3048442" cy="4915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-2823" y="62656"/>
              <a:ext cx="3048442" cy="288658"/>
              <a:chOff x="-5399" y="62656"/>
              <a:chExt cx="3048442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258156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79747" y="62656"/>
                <a:ext cx="2678150" cy="24787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5399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5119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3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20" name="Groupe 19"/>
          <p:cNvGrpSpPr/>
          <p:nvPr userDrawn="1"/>
        </p:nvGrpSpPr>
        <p:grpSpPr>
          <a:xfrm>
            <a:off x="3047524" y="43998"/>
            <a:ext cx="3048549" cy="288658"/>
            <a:chOff x="9129" y="62656"/>
            <a:chExt cx="2213757" cy="288658"/>
          </a:xfrm>
        </p:grpSpPr>
        <p:cxnSp>
          <p:nvCxnSpPr>
            <p:cNvPr id="21" name="Connecteur droit 20"/>
            <p:cNvCxnSpPr/>
            <p:nvPr userDrawn="1"/>
          </p:nvCxnSpPr>
          <p:spPr>
            <a:xfrm flipV="1">
              <a:off x="9184" y="276225"/>
              <a:ext cx="2213702" cy="491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Groupe 21"/>
            <p:cNvGrpSpPr/>
            <p:nvPr userDrawn="1"/>
          </p:nvGrpSpPr>
          <p:grpSpPr>
            <a:xfrm>
              <a:off x="9129" y="62656"/>
              <a:ext cx="2213757" cy="288658"/>
              <a:chOff x="6553" y="62656"/>
              <a:chExt cx="2213757" cy="288658"/>
            </a:xfrm>
          </p:grpSpPr>
          <p:sp>
            <p:nvSpPr>
              <p:cNvPr id="23" name="Rectangle à coins arrondis 22"/>
              <p:cNvSpPr/>
              <p:nvPr userDrawn="1"/>
            </p:nvSpPr>
            <p:spPr>
              <a:xfrm>
                <a:off x="175883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 23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5" name="Rectangle à coins arrondis 24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7" name="ZoneTexte 16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8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23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244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3047524" y="43998"/>
            <a:ext cx="3048549" cy="288658"/>
            <a:chOff x="9129" y="62656"/>
            <a:chExt cx="2213757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9184" y="276225"/>
              <a:ext cx="2213702" cy="491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2213757" cy="288658"/>
              <a:chOff x="6553" y="62656"/>
              <a:chExt cx="2213757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75883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81533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3047524" y="43998"/>
            <a:ext cx="3048549" cy="288658"/>
            <a:chOff x="9129" y="62656"/>
            <a:chExt cx="2213757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9184" y="276225"/>
              <a:ext cx="2213702" cy="491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2213757" cy="288658"/>
              <a:chOff x="6553" y="62656"/>
              <a:chExt cx="2213757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75883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35675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6" name="ZoneTexte 15"/>
          <p:cNvSpPr txBox="1"/>
          <p:nvPr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3" name="Espace réservé de la date 3"/>
          <p:cNvSpPr txBox="1">
            <a:spLocks/>
          </p:cNvSpPr>
          <p:nvPr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23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4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6098400" y="44624"/>
            <a:ext cx="3048473" cy="288658"/>
            <a:chOff x="9129" y="62656"/>
            <a:chExt cx="221370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9129" y="276225"/>
              <a:ext cx="2213702" cy="491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9129" y="62656"/>
              <a:ext cx="2213702" cy="288658"/>
              <a:chOff x="6553" y="62656"/>
              <a:chExt cx="2213702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7587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23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97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6098400" y="44624"/>
            <a:ext cx="3048473" cy="288658"/>
            <a:chOff x="9129" y="62656"/>
            <a:chExt cx="221370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9129" y="276225"/>
              <a:ext cx="2213702" cy="491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2213702" cy="288658"/>
              <a:chOff x="6553" y="62656"/>
              <a:chExt cx="2213702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7587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99145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6098400" y="44624"/>
            <a:ext cx="3048473" cy="288658"/>
            <a:chOff x="9129" y="62656"/>
            <a:chExt cx="221370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9129" y="276225"/>
              <a:ext cx="2213702" cy="491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2213702" cy="288658"/>
              <a:chOff x="6553" y="62656"/>
              <a:chExt cx="2213702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7587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200101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9234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8793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9330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3" name="ZoneTexte 12"/>
          <p:cNvSpPr txBox="1"/>
          <p:nvPr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23/09/2013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38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46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472"/>
            <a:ext cx="9144000" cy="369332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7920" y="6503472"/>
            <a:ext cx="0" cy="35427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447416" y="6612741"/>
            <a:ext cx="6480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  </a:t>
            </a:r>
            <a:r>
              <a:rPr lang="en-US" sz="1000" dirty="0" smtClean="0">
                <a:solidFill>
                  <a:schemeClr val="bg1"/>
                </a:solidFill>
              </a:rPr>
              <a:t>Page </a:t>
            </a:r>
            <a:fld id="{68D73963-380B-4232-BFDD-1B76183B206E}" type="slidenum">
              <a:rPr lang="en-US" sz="900" smtClean="0">
                <a:solidFill>
                  <a:schemeClr val="bg1"/>
                </a:solidFill>
              </a:rPr>
              <a:pPr algn="ctr"/>
              <a:t>‹N°›</a:t>
            </a:fld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5140"/>
            <a:ext cx="9144000" cy="1089522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320" y="501599"/>
            <a:ext cx="1229279" cy="796605"/>
          </a:xfrm>
          <a:prstGeom prst="rect">
            <a:avLst/>
          </a:prstGeom>
        </p:spPr>
      </p:pic>
      <p:grpSp>
        <p:nvGrpSpPr>
          <p:cNvPr id="3" name="Groupe 2"/>
          <p:cNvGrpSpPr/>
          <p:nvPr/>
        </p:nvGrpSpPr>
        <p:grpSpPr>
          <a:xfrm>
            <a:off x="0" y="310534"/>
            <a:ext cx="9145374" cy="0"/>
            <a:chOff x="0" y="310534"/>
            <a:chExt cx="9145374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1828868" y="310534"/>
              <a:ext cx="1829902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eur droit 12"/>
            <p:cNvCxnSpPr/>
            <p:nvPr/>
          </p:nvCxnSpPr>
          <p:spPr>
            <a:xfrm flipV="1">
              <a:off x="7315472" y="310534"/>
              <a:ext cx="1829902" cy="0"/>
            </a:xfrm>
            <a:prstGeom prst="line">
              <a:avLst/>
            </a:prstGeom>
            <a:ln w="88900">
              <a:solidFill>
                <a:srgbClr val="D64B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3657736" y="310534"/>
              <a:ext cx="1829902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/>
          </p:nvCxnSpPr>
          <p:spPr>
            <a:xfrm flipV="1">
              <a:off x="5486604" y="310534"/>
              <a:ext cx="1829902" cy="0"/>
            </a:xfrm>
            <a:prstGeom prst="line">
              <a:avLst/>
            </a:prstGeom>
            <a:ln w="88900">
              <a:solidFill>
                <a:srgbClr val="80888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1829902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46902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472"/>
            <a:ext cx="9144000" cy="369332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7920" y="6503472"/>
            <a:ext cx="0" cy="35427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447416" y="6612741"/>
            <a:ext cx="6480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  </a:t>
            </a:r>
            <a:r>
              <a:rPr lang="en-US" sz="1000" dirty="0" smtClean="0">
                <a:solidFill>
                  <a:schemeClr val="bg1"/>
                </a:solidFill>
              </a:rPr>
              <a:t>Page </a:t>
            </a:r>
            <a:fld id="{68D73963-380B-4232-BFDD-1B76183B206E}" type="slidenum">
              <a:rPr lang="en-US" sz="900" smtClean="0">
                <a:solidFill>
                  <a:schemeClr val="bg1"/>
                </a:solidFill>
              </a:rPr>
              <a:pPr algn="ctr"/>
              <a:t>‹N°›</a:t>
            </a:fld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5140"/>
            <a:ext cx="9144000" cy="1089522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320" y="501599"/>
            <a:ext cx="1229279" cy="796605"/>
          </a:xfrm>
          <a:prstGeom prst="rect">
            <a:avLst/>
          </a:prstGeom>
        </p:spPr>
      </p:pic>
      <p:grpSp>
        <p:nvGrpSpPr>
          <p:cNvPr id="3" name="Groupe 2"/>
          <p:cNvGrpSpPr/>
          <p:nvPr/>
        </p:nvGrpSpPr>
        <p:grpSpPr>
          <a:xfrm>
            <a:off x="0" y="310534"/>
            <a:ext cx="9145374" cy="0"/>
            <a:chOff x="0" y="310534"/>
            <a:chExt cx="9145374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1828220" y="310534"/>
              <a:ext cx="1829902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eur droit 12"/>
            <p:cNvCxnSpPr/>
            <p:nvPr/>
          </p:nvCxnSpPr>
          <p:spPr>
            <a:xfrm flipV="1">
              <a:off x="7315472" y="310534"/>
              <a:ext cx="1829902" cy="0"/>
            </a:xfrm>
            <a:prstGeom prst="line">
              <a:avLst/>
            </a:prstGeom>
            <a:ln w="88900">
              <a:solidFill>
                <a:srgbClr val="D64B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3657600" y="310534"/>
              <a:ext cx="1829902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/>
          </p:nvCxnSpPr>
          <p:spPr>
            <a:xfrm flipV="1">
              <a:off x="5486400" y="310534"/>
              <a:ext cx="1829902" cy="0"/>
            </a:xfrm>
            <a:prstGeom prst="line">
              <a:avLst/>
            </a:prstGeom>
            <a:ln w="88900">
              <a:solidFill>
                <a:srgbClr val="80888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1829902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78099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472"/>
            <a:ext cx="9144000" cy="369332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7920" y="6503472"/>
            <a:ext cx="0" cy="35427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8447416" y="6612741"/>
            <a:ext cx="6480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  </a:t>
            </a:r>
            <a:r>
              <a:rPr lang="en-US" sz="1000" dirty="0" smtClean="0">
                <a:solidFill>
                  <a:schemeClr val="bg1"/>
                </a:solidFill>
              </a:rPr>
              <a:t>Page </a:t>
            </a:r>
            <a:fld id="{68D73963-380B-4232-BFDD-1B76183B206E}" type="slidenum">
              <a:rPr lang="en-US" sz="900" smtClean="0">
                <a:solidFill>
                  <a:schemeClr val="bg1"/>
                </a:solidFill>
              </a:rPr>
              <a:pPr algn="ctr"/>
              <a:t>‹N°›</a:t>
            </a:fld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5140"/>
            <a:ext cx="9144000" cy="1089522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320" y="501599"/>
            <a:ext cx="1229279" cy="796605"/>
          </a:xfrm>
          <a:prstGeom prst="rect">
            <a:avLst/>
          </a:prstGeom>
        </p:spPr>
      </p:pic>
      <p:grpSp>
        <p:nvGrpSpPr>
          <p:cNvPr id="2" name="Groupe 1"/>
          <p:cNvGrpSpPr/>
          <p:nvPr/>
        </p:nvGrpSpPr>
        <p:grpSpPr>
          <a:xfrm>
            <a:off x="0" y="310534"/>
            <a:ext cx="9144000" cy="0"/>
            <a:chOff x="0" y="310534"/>
            <a:chExt cx="9144000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2286000" y="310534"/>
              <a:ext cx="2286000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4572000" y="310534"/>
              <a:ext cx="2286000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/>
          </p:nvCxnSpPr>
          <p:spPr>
            <a:xfrm flipV="1">
              <a:off x="6858000" y="310534"/>
              <a:ext cx="2286000" cy="0"/>
            </a:xfrm>
            <a:prstGeom prst="line">
              <a:avLst/>
            </a:prstGeom>
            <a:ln w="88900">
              <a:solidFill>
                <a:srgbClr val="80888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2286000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74107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472"/>
            <a:ext cx="9144000" cy="369332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7920" y="6503472"/>
            <a:ext cx="0" cy="35427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47416" y="6612741"/>
            <a:ext cx="6480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  </a:t>
            </a:r>
            <a:r>
              <a:rPr lang="en-US" sz="1000" dirty="0" smtClean="0">
                <a:solidFill>
                  <a:schemeClr val="bg1"/>
                </a:solidFill>
              </a:rPr>
              <a:t>Page </a:t>
            </a:r>
            <a:fld id="{68D73963-380B-4232-BFDD-1B76183B206E}" type="slidenum">
              <a:rPr lang="en-US" sz="900" smtClean="0">
                <a:solidFill>
                  <a:schemeClr val="bg1"/>
                </a:solidFill>
              </a:rPr>
              <a:pPr algn="ctr"/>
              <a:t>‹N°›</a:t>
            </a:fld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5140"/>
            <a:ext cx="9144000" cy="1089522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320" y="501599"/>
            <a:ext cx="1229279" cy="796605"/>
          </a:xfrm>
          <a:prstGeom prst="rect">
            <a:avLst/>
          </a:prstGeom>
        </p:spPr>
      </p:pic>
      <p:grpSp>
        <p:nvGrpSpPr>
          <p:cNvPr id="3" name="Groupe 2"/>
          <p:cNvGrpSpPr/>
          <p:nvPr/>
        </p:nvGrpSpPr>
        <p:grpSpPr>
          <a:xfrm>
            <a:off x="0" y="310534"/>
            <a:ext cx="9144000" cy="0"/>
            <a:chOff x="0" y="310534"/>
            <a:chExt cx="9144000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3049200" y="310534"/>
              <a:ext cx="3047224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6096776" y="310534"/>
              <a:ext cx="3047224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3047224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20290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90.83.76.218:8443/svn/ProjectX" TargetMode="Externa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2606306" y="2492896"/>
            <a:ext cx="6267270" cy="677108"/>
          </a:xfrm>
        </p:spPr>
        <p:txBody>
          <a:bodyPr/>
          <a:lstStyle/>
          <a:p>
            <a:r>
              <a:rPr lang="fr-FR" dirty="0" smtClean="0"/>
              <a:t>Guide utilisateur </a:t>
            </a:r>
            <a:r>
              <a:rPr lang="fr-FR" dirty="0" err="1" smtClean="0"/>
              <a:t>iPMP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627784" y="3429000"/>
            <a:ext cx="6273329" cy="369332"/>
          </a:xfrm>
        </p:spPr>
        <p:txBody>
          <a:bodyPr/>
          <a:lstStyle/>
          <a:p>
            <a:r>
              <a:rPr lang="fr-FR" dirty="0" smtClean="0"/>
              <a:t>Administrateur</a:t>
            </a:r>
            <a:endParaRPr lang="en-US" dirty="0"/>
          </a:p>
        </p:txBody>
      </p:sp>
      <p:sp>
        <p:nvSpPr>
          <p:cNvPr id="4" name="Sous-titre 2"/>
          <p:cNvSpPr txBox="1">
            <a:spLocks/>
          </p:cNvSpPr>
          <p:nvPr/>
        </p:nvSpPr>
        <p:spPr>
          <a:xfrm>
            <a:off x="179511" y="5569495"/>
            <a:ext cx="627332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4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dirty="0" smtClean="0"/>
              <a:t>Référence : XXXX</a:t>
            </a:r>
            <a:endParaRPr lang="en-US" sz="2000" dirty="0"/>
          </a:p>
        </p:txBody>
      </p:sp>
      <p:sp>
        <p:nvSpPr>
          <p:cNvPr id="5" name="Sous-titre 2"/>
          <p:cNvSpPr txBox="1">
            <a:spLocks/>
          </p:cNvSpPr>
          <p:nvPr/>
        </p:nvSpPr>
        <p:spPr>
          <a:xfrm>
            <a:off x="2627784" y="3995772"/>
            <a:ext cx="627332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4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fr-FR" b="1" dirty="0" smtClean="0"/>
              <a:t>Migration de version </a:t>
            </a:r>
            <a:r>
              <a:rPr lang="fr-FR" b="1" dirty="0" err="1" smtClean="0"/>
              <a:t>iPMP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907155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vertical 13"/>
          <p:cNvSpPr>
            <a:spLocks noGrp="1"/>
          </p:cNvSpPr>
          <p:nvPr>
            <p:ph type="body" orient="vert" idx="12"/>
          </p:nvPr>
        </p:nvSpPr>
        <p:spPr/>
        <p:txBody>
          <a:bodyPr/>
          <a:lstStyle/>
          <a:p>
            <a:r>
              <a:rPr lang="fr-FR" dirty="0" smtClean="0"/>
              <a:t>Terminaison</a:t>
            </a:r>
            <a:endParaRPr lang="en-US" dirty="0"/>
          </a:p>
        </p:txBody>
      </p:sp>
      <p:sp>
        <p:nvSpPr>
          <p:cNvPr id="7" name="Espace réservé du texte vertical 6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fr-FR" dirty="0" smtClean="0"/>
              <a:t>Préparation</a:t>
            </a:r>
            <a:endParaRPr lang="en-US" dirty="0"/>
          </a:p>
        </p:txBody>
      </p:sp>
      <p:sp>
        <p:nvSpPr>
          <p:cNvPr id="12" name="Espace réservé du texte vertical 11"/>
          <p:cNvSpPr>
            <a:spLocks noGrp="1"/>
          </p:cNvSpPr>
          <p:nvPr>
            <p:ph type="body" orient="vert" idx="10"/>
          </p:nvPr>
        </p:nvSpPr>
        <p:spPr/>
        <p:txBody>
          <a:bodyPr/>
          <a:lstStyle/>
          <a:p>
            <a:r>
              <a:rPr lang="fr-FR" dirty="0" smtClean="0"/>
              <a:t>Migration code source</a:t>
            </a:r>
            <a:endParaRPr lang="en-US" dirty="0"/>
          </a:p>
        </p:txBody>
      </p:sp>
      <p:sp>
        <p:nvSpPr>
          <p:cNvPr id="13" name="Espace réservé du texte vertical 12"/>
          <p:cNvSpPr>
            <a:spLocks noGrp="1"/>
          </p:cNvSpPr>
          <p:nvPr>
            <p:ph type="body" orient="vert" idx="11"/>
          </p:nvPr>
        </p:nvSpPr>
        <p:spPr/>
        <p:txBody>
          <a:bodyPr/>
          <a:lstStyle/>
          <a:p>
            <a:r>
              <a:rPr lang="fr-FR" dirty="0" smtClean="0"/>
              <a:t>Migration base de donné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42625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317822" y="1412776"/>
            <a:ext cx="8502650" cy="4679950"/>
          </a:xfrm>
        </p:spPr>
        <p:txBody>
          <a:bodyPr/>
          <a:lstStyle/>
          <a:p>
            <a:r>
              <a:rPr lang="fr-FR" sz="2000" dirty="0" smtClean="0"/>
              <a:t>Cloner la VM de </a:t>
            </a:r>
            <a:r>
              <a:rPr lang="fr-FR" sz="2000" dirty="0" err="1" smtClean="0"/>
              <a:t>Prod</a:t>
            </a:r>
            <a:endParaRPr lang="fr-FR" sz="2000" dirty="0" smtClean="0"/>
          </a:p>
          <a:p>
            <a:r>
              <a:rPr lang="fr-FR" sz="2000" dirty="0" smtClean="0"/>
              <a:t>Archiver les sources du serveur </a:t>
            </a:r>
            <a:r>
              <a:rPr lang="fr-FR" sz="2000" dirty="0" smtClean="0"/>
              <a:t>de </a:t>
            </a:r>
            <a:r>
              <a:rPr lang="fr-FR" sz="2000" dirty="0" err="1" smtClean="0"/>
              <a:t>Prod</a:t>
            </a:r>
            <a:endParaRPr lang="fr-FR" sz="2000" dirty="0" smtClean="0"/>
          </a:p>
          <a:p>
            <a:pPr lvl="1"/>
            <a:r>
              <a:rPr lang="fr-FR" sz="2000" dirty="0" smtClean="0"/>
              <a:t>Répertoire: </a:t>
            </a:r>
            <a:r>
              <a:rPr lang="fr-FR" sz="2000" dirty="0"/>
              <a:t>{$home} = \</a:t>
            </a:r>
            <a:r>
              <a:rPr lang="fr-FR" sz="2000" dirty="0" smtClean="0"/>
              <a:t>Zend\Apache2\</a:t>
            </a:r>
            <a:r>
              <a:rPr lang="fr-FR" sz="2000" dirty="0" err="1" smtClean="0"/>
              <a:t>htdocs</a:t>
            </a:r>
            <a:r>
              <a:rPr lang="fr-FR" sz="2000" dirty="0" smtClean="0"/>
              <a:t>\</a:t>
            </a:r>
            <a:r>
              <a:rPr lang="fr-FR" sz="2000" dirty="0" err="1" smtClean="0"/>
              <a:t>iPMP</a:t>
            </a:r>
            <a:r>
              <a:rPr lang="fr-FR" sz="2000" dirty="0" smtClean="0"/>
              <a:t> (par exemple)</a:t>
            </a:r>
            <a:endParaRPr lang="fr-FR" sz="2000" dirty="0" smtClean="0"/>
          </a:p>
          <a:p>
            <a:r>
              <a:rPr lang="fr-FR" sz="2000" dirty="0" smtClean="0"/>
              <a:t>Exporter et archiver la base de </a:t>
            </a:r>
            <a:r>
              <a:rPr lang="fr-FR" sz="2000" dirty="0" smtClean="0"/>
              <a:t>données SQL</a:t>
            </a:r>
            <a:endParaRPr lang="fr-FR" sz="2000" dirty="0" smtClean="0"/>
          </a:p>
          <a:p>
            <a:r>
              <a:rPr lang="fr-FR" sz="2000" dirty="0" smtClean="0"/>
              <a:t>Fermer l’accès à la base (profil </a:t>
            </a:r>
            <a:r>
              <a:rPr lang="fr-FR" sz="2000" dirty="0" err="1" smtClean="0"/>
              <a:t>Admin</a:t>
            </a:r>
            <a:r>
              <a:rPr lang="fr-FR" sz="2000" dirty="0" smtClean="0"/>
              <a:t>):</a:t>
            </a:r>
          </a:p>
          <a:p>
            <a:pPr lvl="1"/>
            <a:r>
              <a:rPr lang="fr-FR" sz="2000" dirty="0" smtClean="0"/>
              <a:t>1) Déconnecter </a:t>
            </a:r>
            <a:r>
              <a:rPr lang="fr-FR" sz="2000" dirty="0" smtClean="0"/>
              <a:t>tous les utilisateurs </a:t>
            </a:r>
            <a:endParaRPr lang="fr-FR" sz="2000" dirty="0" smtClean="0"/>
          </a:p>
          <a:p>
            <a:pPr lvl="1"/>
            <a:r>
              <a:rPr lang="fr-FR" sz="2000" dirty="0" smtClean="0"/>
              <a:t>2) Fermer l’accès à l’outil</a:t>
            </a:r>
            <a:endParaRPr lang="fr-FR" sz="2000" dirty="0" smtClean="0"/>
          </a:p>
          <a:p>
            <a:pPr lvl="1"/>
            <a:endParaRPr lang="fr-FR" sz="2000" dirty="0" smtClean="0"/>
          </a:p>
          <a:p>
            <a:endParaRPr lang="fr-FR" sz="2000" dirty="0" smtClean="0"/>
          </a:p>
          <a:p>
            <a:endParaRPr lang="fr-FR" sz="2000" dirty="0" smtClean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Préparation</a:t>
            </a:r>
            <a:endParaRPr lang="en-US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4536529"/>
            <a:ext cx="2457450" cy="1628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9912" y="4545440"/>
            <a:ext cx="5076825" cy="160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4695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248667" y="1485354"/>
            <a:ext cx="8502650" cy="4679950"/>
          </a:xfrm>
        </p:spPr>
        <p:txBody>
          <a:bodyPr/>
          <a:lstStyle/>
          <a:p>
            <a:r>
              <a:rPr lang="fr-FR" sz="2000" dirty="0" smtClean="0"/>
              <a:t>Supprimer les fichiers sources du serveur de </a:t>
            </a:r>
            <a:r>
              <a:rPr lang="fr-FR" sz="2000" dirty="0" err="1" smtClean="0"/>
              <a:t>Prod</a:t>
            </a:r>
            <a:r>
              <a:rPr lang="fr-FR" sz="2000" dirty="0"/>
              <a:t> </a:t>
            </a:r>
            <a:r>
              <a:rPr lang="fr-FR" sz="2000" dirty="0" smtClean="0">
                <a:solidFill>
                  <a:schemeClr val="tx1"/>
                </a:solidFill>
              </a:rPr>
              <a:t>({$home})</a:t>
            </a:r>
            <a:r>
              <a:rPr lang="fr-FR" sz="2000" dirty="0" smtClean="0"/>
              <a:t/>
            </a:r>
            <a:br>
              <a:rPr lang="fr-FR" sz="2000" dirty="0" smtClean="0"/>
            </a:br>
            <a:r>
              <a:rPr lang="fr-FR" sz="2000" dirty="0" smtClean="0">
                <a:solidFill>
                  <a:srgbClr val="FF0000"/>
                </a:solidFill>
              </a:rPr>
              <a:t>SAUF </a:t>
            </a:r>
            <a:r>
              <a:rPr lang="fr-FR" sz="2000" dirty="0" smtClean="0">
                <a:solidFill>
                  <a:srgbClr val="FF0000"/>
                </a:solidFill>
              </a:rPr>
              <a:t>{$home}/files</a:t>
            </a:r>
            <a:r>
              <a:rPr lang="fr-FR" sz="2000" dirty="0" smtClean="0">
                <a:solidFill>
                  <a:srgbClr val="FF0000"/>
                </a:solidFill>
              </a:rPr>
              <a:t>/ </a:t>
            </a:r>
            <a:r>
              <a:rPr lang="fr-FR" sz="1600" b="0" dirty="0" smtClean="0"/>
              <a:t>(contient les documents, attachements </a:t>
            </a:r>
            <a:r>
              <a:rPr lang="fr-FR" sz="1600" b="0" dirty="0" smtClean="0">
                <a:sym typeface="Wingdings" pitchFamily="2" charset="2"/>
              </a:rPr>
              <a:t> pas du code source!)</a:t>
            </a:r>
            <a:endParaRPr lang="fr-FR" sz="1600" b="0" dirty="0">
              <a:sym typeface="Wingdings" pitchFamily="2" charset="2"/>
            </a:endParaRPr>
          </a:p>
          <a:p>
            <a:r>
              <a:rPr lang="fr-FR" sz="2000" dirty="0" smtClean="0"/>
              <a:t>Récupérer sous SVN le code source de la nouvelle version:</a:t>
            </a:r>
          </a:p>
          <a:p>
            <a:pPr lvl="1"/>
            <a:r>
              <a:rPr lang="fr-FR" sz="2000" dirty="0" err="1" smtClean="0"/>
              <a:t>Repository</a:t>
            </a:r>
            <a:r>
              <a:rPr lang="fr-FR" sz="2000" dirty="0"/>
              <a:t> SVN: </a:t>
            </a:r>
            <a:r>
              <a:rPr lang="fr-FR" sz="2000" dirty="0">
                <a:hlinkClick r:id="rId2"/>
              </a:rPr>
              <a:t>https://</a:t>
            </a:r>
            <a:r>
              <a:rPr lang="fr-FR" sz="2000" dirty="0" smtClean="0">
                <a:hlinkClick r:id="rId2"/>
              </a:rPr>
              <a:t>90.83.76.218:8443/svn/ProjectX</a:t>
            </a:r>
            <a:endParaRPr lang="fr-FR" sz="2000" dirty="0" smtClean="0"/>
          </a:p>
          <a:p>
            <a:pPr lvl="1"/>
            <a:r>
              <a:rPr lang="fr-FR" sz="2000" dirty="0" smtClean="0"/>
              <a:t>Version à récupérer sous /tags/</a:t>
            </a:r>
            <a:r>
              <a:rPr lang="fr-FR" sz="2000" dirty="0" err="1" smtClean="0"/>
              <a:t>ipmp</a:t>
            </a:r>
            <a:r>
              <a:rPr lang="fr-FR" sz="2000" dirty="0" smtClean="0"/>
              <a:t>/</a:t>
            </a:r>
            <a:r>
              <a:rPr lang="fr-FR" sz="2000" dirty="0" err="1" smtClean="0"/>
              <a:t>Vx.y.z</a:t>
            </a:r>
            <a:r>
              <a:rPr lang="fr-FR" sz="2000" dirty="0" smtClean="0"/>
              <a:t>/</a:t>
            </a:r>
          </a:p>
          <a:p>
            <a:pPr lvl="1"/>
            <a:r>
              <a:rPr lang="fr-FR" sz="2000" dirty="0" smtClean="0"/>
              <a:t>Copier tout le contenu du répertoire </a:t>
            </a:r>
            <a:r>
              <a:rPr lang="fr-FR" sz="2000" b="1" dirty="0" smtClean="0">
                <a:solidFill>
                  <a:srgbClr val="FF0000"/>
                </a:solidFill>
              </a:rPr>
              <a:t>sauf /files/</a:t>
            </a:r>
          </a:p>
          <a:p>
            <a:r>
              <a:rPr lang="fr-FR" sz="2000" dirty="0" smtClean="0"/>
              <a:t>Copier les nouveaux fichiers source sur le serveur de </a:t>
            </a:r>
            <a:r>
              <a:rPr lang="fr-FR" sz="2000" dirty="0" err="1" smtClean="0"/>
              <a:t>Prod</a:t>
            </a:r>
            <a:endParaRPr lang="fr-FR" sz="2000" dirty="0" smtClean="0"/>
          </a:p>
          <a:p>
            <a:endParaRPr lang="fr-FR" sz="2000" dirty="0" smtClean="0"/>
          </a:p>
          <a:p>
            <a:endParaRPr lang="fr-FR" sz="2000" dirty="0" smtClean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Migration code source</a:t>
            </a:r>
            <a:endParaRPr lang="en-US" dirty="0"/>
          </a:p>
        </p:txBody>
      </p:sp>
      <p:sp>
        <p:nvSpPr>
          <p:cNvPr id="4" name="ZoneTexte 3"/>
          <p:cNvSpPr txBox="1"/>
          <p:nvPr/>
        </p:nvSpPr>
        <p:spPr>
          <a:xfrm>
            <a:off x="395536" y="4797152"/>
            <a:ext cx="8208912" cy="1581969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/>
          <a:lstStyle>
            <a:lvl1pPr marL="342900" indent="-342900">
              <a:lnSpc>
                <a:spcPct val="114000"/>
              </a:lnSpc>
              <a:spcBef>
                <a:spcPct val="20000"/>
              </a:spcBef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200"/>
            </a:lvl2pPr>
            <a:lvl3pPr marL="1143000" indent="-228600">
              <a:lnSpc>
                <a:spcPct val="114000"/>
              </a:lnSpc>
              <a:spcBef>
                <a:spcPct val="20000"/>
              </a:spcBef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spcBef>
                <a:spcPct val="20000"/>
              </a:spcBef>
              <a:buFont typeface="Arial" pitchFamily="34" charset="0"/>
              <a:buChar char="–"/>
              <a:defRPr b="1"/>
            </a:lvl4pPr>
            <a:lvl5pPr marL="1971675" indent="-142875">
              <a:lnSpc>
                <a:spcPct val="114000"/>
              </a:lnSpc>
              <a:spcBef>
                <a:spcPct val="20000"/>
              </a:spcBef>
              <a:buFont typeface="Arial" pitchFamily="34" charset="0"/>
              <a:buChar char="•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fr-FR" u="sng" dirty="0" smtClean="0">
                <a:sym typeface="Wingdings" pitchFamily="2" charset="2"/>
              </a:rPr>
              <a:t>Note:</a:t>
            </a:r>
            <a:r>
              <a:rPr lang="fr-FR" dirty="0" smtClean="0">
                <a:sym typeface="Wingdings" pitchFamily="2" charset="2"/>
              </a:rPr>
              <a:t> le répertoire {$home}/files/ contient notamment les paramètres de connexion à la base, les documents, attachements… </a:t>
            </a:r>
            <a:br>
              <a:rPr lang="fr-FR" dirty="0" smtClean="0">
                <a:sym typeface="Wingdings" pitchFamily="2" charset="2"/>
              </a:rPr>
            </a:br>
            <a:r>
              <a:rPr lang="fr-FR" dirty="0" smtClean="0">
                <a:sym typeface="Wingdings" pitchFamily="2" charset="2"/>
              </a:rPr>
              <a:t>Il faut donc conserver la version locale du répertoire</a:t>
            </a:r>
            <a:endParaRPr lang="fr-FR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987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317822" y="1628799"/>
            <a:ext cx="8502650" cy="3107977"/>
          </a:xfrm>
        </p:spPr>
        <p:txBody>
          <a:bodyPr/>
          <a:lstStyle/>
          <a:p>
            <a:r>
              <a:rPr lang="fr-FR" sz="2000" dirty="0" smtClean="0"/>
              <a:t>Se connecter sur </a:t>
            </a:r>
            <a:r>
              <a:rPr lang="fr-FR" sz="2000" dirty="0" err="1" smtClean="0"/>
              <a:t>iPMP</a:t>
            </a:r>
            <a:r>
              <a:rPr lang="fr-FR" sz="2000" dirty="0" smtClean="0"/>
              <a:t>:</a:t>
            </a:r>
            <a:r>
              <a:rPr lang="fr-FR" sz="2000" dirty="0"/>
              <a:t/>
            </a:r>
            <a:br>
              <a:rPr lang="fr-FR" sz="2000" dirty="0"/>
            </a:br>
            <a:r>
              <a:rPr lang="fr-FR" sz="2000" dirty="0" smtClean="0">
                <a:sym typeface="Wingdings" pitchFamily="2" charset="2"/>
              </a:rPr>
              <a:t> message d’avertissement </a:t>
            </a:r>
            <a:r>
              <a:rPr lang="fr-FR" sz="2000" dirty="0" smtClean="0">
                <a:sym typeface="Wingdings" pitchFamily="2" charset="2"/>
              </a:rPr>
              <a:t/>
            </a:r>
            <a:br>
              <a:rPr lang="fr-FR" sz="2000" dirty="0" smtClean="0">
                <a:sym typeface="Wingdings" pitchFamily="2" charset="2"/>
              </a:rPr>
            </a:br>
            <a:r>
              <a:rPr lang="fr-FR" sz="2000" dirty="0" smtClean="0">
                <a:sym typeface="Wingdings" pitchFamily="2" charset="2"/>
              </a:rPr>
              <a:t>     de mise </a:t>
            </a:r>
            <a:r>
              <a:rPr lang="fr-FR" sz="2000" dirty="0" smtClean="0">
                <a:sym typeface="Wingdings" pitchFamily="2" charset="2"/>
              </a:rPr>
              <a:t>à jour </a:t>
            </a:r>
            <a:r>
              <a:rPr lang="fr-FR" sz="2000" dirty="0" smtClean="0">
                <a:sym typeface="Wingdings" pitchFamily="2" charset="2"/>
              </a:rPr>
              <a:t>:</a:t>
            </a:r>
            <a:br>
              <a:rPr lang="fr-FR" sz="2000" dirty="0" smtClean="0">
                <a:sym typeface="Wingdings" pitchFamily="2" charset="2"/>
              </a:rPr>
            </a:br>
            <a:r>
              <a:rPr lang="fr-FR" sz="2000" dirty="0" smtClean="0">
                <a:sym typeface="Wingdings" pitchFamily="2" charset="2"/>
              </a:rPr>
              <a:t/>
            </a:r>
            <a:br>
              <a:rPr lang="fr-FR" sz="2000" dirty="0" smtClean="0">
                <a:sym typeface="Wingdings" pitchFamily="2" charset="2"/>
              </a:rPr>
            </a:br>
            <a:r>
              <a:rPr lang="fr-FR" sz="2000" dirty="0" smtClean="0">
                <a:sym typeface="Wingdings" pitchFamily="2" charset="2"/>
              </a:rPr>
              <a:t/>
            </a:r>
            <a:br>
              <a:rPr lang="fr-FR" sz="2000" dirty="0" smtClean="0">
                <a:sym typeface="Wingdings" pitchFamily="2" charset="2"/>
              </a:rPr>
            </a:br>
            <a:r>
              <a:rPr lang="fr-FR" sz="2000" dirty="0" smtClean="0">
                <a:sym typeface="Wingdings" pitchFamily="2" charset="2"/>
              </a:rPr>
              <a:t/>
            </a:r>
            <a:br>
              <a:rPr lang="fr-FR" sz="2000" dirty="0" smtClean="0">
                <a:sym typeface="Wingdings" pitchFamily="2" charset="2"/>
              </a:rPr>
            </a:br>
            <a:r>
              <a:rPr lang="fr-FR" sz="2000" dirty="0" smtClean="0">
                <a:sym typeface="Wingdings" pitchFamily="2" charset="2"/>
              </a:rPr>
              <a:t> à la connexion en </a:t>
            </a:r>
            <a:r>
              <a:rPr lang="fr-FR" sz="2000" dirty="0" err="1" smtClean="0">
                <a:sym typeface="Wingdings" pitchFamily="2" charset="2"/>
              </a:rPr>
              <a:t>Admin</a:t>
            </a:r>
            <a:r>
              <a:rPr lang="fr-FR" sz="2000" dirty="0" smtClean="0">
                <a:sym typeface="Wingdings" pitchFamily="2" charset="2"/>
              </a:rPr>
              <a:t>, la mise </a:t>
            </a:r>
            <a:br>
              <a:rPr lang="fr-FR" sz="2000" dirty="0" smtClean="0">
                <a:sym typeface="Wingdings" pitchFamily="2" charset="2"/>
              </a:rPr>
            </a:br>
            <a:r>
              <a:rPr lang="fr-FR" sz="2000" dirty="0" smtClean="0">
                <a:sym typeface="Wingdings" pitchFamily="2" charset="2"/>
              </a:rPr>
              <a:t>     à jour de la base s’effectue </a:t>
            </a:r>
            <a:br>
              <a:rPr lang="fr-FR" sz="2000" dirty="0" smtClean="0">
                <a:sym typeface="Wingdings" pitchFamily="2" charset="2"/>
              </a:rPr>
            </a:br>
            <a:r>
              <a:rPr lang="fr-FR" sz="2000" dirty="0" smtClean="0">
                <a:sym typeface="Wingdings" pitchFamily="2" charset="2"/>
              </a:rPr>
              <a:t>     automatiquement</a:t>
            </a:r>
            <a:endParaRPr lang="fr-FR" sz="2000" dirty="0" smtClean="0">
              <a:sym typeface="Wingdings" pitchFamily="2" charset="2"/>
            </a:endParaRPr>
          </a:p>
          <a:p>
            <a:endParaRPr lang="fr-FR" sz="2000" dirty="0" smtClean="0"/>
          </a:p>
          <a:p>
            <a:endParaRPr lang="fr-FR" sz="2000" dirty="0"/>
          </a:p>
          <a:p>
            <a:endParaRPr lang="fr-FR" sz="2000" dirty="0" smtClean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Migration base de </a:t>
            </a:r>
            <a:r>
              <a:rPr lang="fr-FR" dirty="0" smtClean="0"/>
              <a:t>données (1/2)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88" t="24737" r="21259" b="1"/>
          <a:stretch/>
        </p:blipFill>
        <p:spPr bwMode="auto">
          <a:xfrm>
            <a:off x="5220072" y="1673919"/>
            <a:ext cx="3490452" cy="204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072" y="4005064"/>
            <a:ext cx="3790950" cy="1895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Légende encadrée 2 3"/>
          <p:cNvSpPr/>
          <p:nvPr/>
        </p:nvSpPr>
        <p:spPr>
          <a:xfrm>
            <a:off x="2412331" y="4869160"/>
            <a:ext cx="2160240" cy="504056"/>
          </a:xfrm>
          <a:prstGeom prst="borderCallout2">
            <a:avLst>
              <a:gd name="adj1" fmla="val 53861"/>
              <a:gd name="adj2" fmla="val 100447"/>
              <a:gd name="adj3" fmla="val 83121"/>
              <a:gd name="adj4" fmla="val 110319"/>
              <a:gd name="adj5" fmla="val 81290"/>
              <a:gd name="adj6" fmla="val 159969"/>
            </a:avLst>
          </a:prstGeom>
          <a:ln>
            <a:headEnd type="none" w="med" len="med"/>
            <a:tailEnd type="arrow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400" dirty="0" smtClean="0"/>
              <a:t>Version du </a:t>
            </a:r>
            <a:r>
              <a:rPr lang="fr-FR" sz="1400" dirty="0" err="1" smtClean="0"/>
              <a:t>framework</a:t>
            </a:r>
            <a:endParaRPr lang="fr-FR" sz="1400" dirty="0" smtClean="0"/>
          </a:p>
          <a:p>
            <a:pPr algn="ctr"/>
            <a:r>
              <a:rPr lang="fr-FR" sz="1400" dirty="0"/>
              <a:t>(</a:t>
            </a:r>
            <a:r>
              <a:rPr lang="fr-FR" sz="1400" dirty="0" err="1" smtClean="0"/>
              <a:t>Projectorria</a:t>
            </a:r>
            <a:r>
              <a:rPr lang="fr-FR" sz="1400" dirty="0" smtClean="0"/>
              <a:t>)</a:t>
            </a:r>
            <a:endParaRPr lang="en-US" sz="1400" dirty="0"/>
          </a:p>
        </p:txBody>
      </p:sp>
      <p:sp>
        <p:nvSpPr>
          <p:cNvPr id="8" name="Légende encadrée 2 7"/>
          <p:cNvSpPr/>
          <p:nvPr/>
        </p:nvSpPr>
        <p:spPr>
          <a:xfrm>
            <a:off x="2412331" y="5525616"/>
            <a:ext cx="2160240" cy="504056"/>
          </a:xfrm>
          <a:prstGeom prst="borderCallout2">
            <a:avLst>
              <a:gd name="adj1" fmla="val 53861"/>
              <a:gd name="adj2" fmla="val 100447"/>
              <a:gd name="adj3" fmla="val 34356"/>
              <a:gd name="adj4" fmla="val 109409"/>
              <a:gd name="adj5" fmla="val 34475"/>
              <a:gd name="adj6" fmla="val 160425"/>
            </a:avLst>
          </a:prstGeom>
          <a:ln>
            <a:headEnd type="none" w="med" len="med"/>
            <a:tailEnd type="arrow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400" dirty="0" smtClean="0"/>
              <a:t>Version </a:t>
            </a:r>
            <a:r>
              <a:rPr lang="fr-FR" sz="1400" dirty="0" err="1" smtClean="0"/>
              <a:t>iPMP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226150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2376264"/>
          </a:xfrm>
        </p:spPr>
        <p:txBody>
          <a:bodyPr/>
          <a:lstStyle/>
          <a:p>
            <a:endParaRPr lang="fr-FR" sz="1800" dirty="0"/>
          </a:p>
          <a:p>
            <a:r>
              <a:rPr lang="fr-FR" sz="1800" dirty="0" smtClean="0"/>
              <a:t>La </a:t>
            </a:r>
            <a:r>
              <a:rPr lang="fr-FR" sz="1800" dirty="0" smtClean="0"/>
              <a:t>mise à jour de base se fait automatiquement par exécution du script SQL contenu dans le répertoire </a:t>
            </a:r>
            <a:r>
              <a:rPr lang="fr-FR" sz="1800" dirty="0" smtClean="0"/>
              <a:t>{$home}/</a:t>
            </a:r>
            <a:r>
              <a:rPr lang="fr-FR" sz="1800" dirty="0" err="1" smtClean="0"/>
              <a:t>db</a:t>
            </a:r>
            <a:r>
              <a:rPr lang="fr-FR" sz="1800" dirty="0" smtClean="0"/>
              <a:t>/: </a:t>
            </a:r>
            <a:r>
              <a:rPr lang="fr-FR" sz="1800" dirty="0" err="1" smtClean="0"/>
              <a:t>Vxx.sql</a:t>
            </a:r>
            <a:endParaRPr lang="fr-FR" sz="1800" dirty="0" smtClean="0"/>
          </a:p>
          <a:p>
            <a:pPr lvl="1"/>
            <a:r>
              <a:rPr lang="fr-FR" sz="1600" dirty="0" smtClean="0"/>
              <a:t>Il peut y avoir un script pour la version </a:t>
            </a:r>
            <a:r>
              <a:rPr lang="fr-FR" sz="1600" dirty="0" err="1" smtClean="0"/>
              <a:t>Projectorria</a:t>
            </a:r>
            <a:r>
              <a:rPr lang="fr-FR" sz="1600" dirty="0" smtClean="0"/>
              <a:t> et un autre pour la version </a:t>
            </a:r>
            <a:r>
              <a:rPr lang="fr-FR" sz="1600" dirty="0" err="1" smtClean="0"/>
              <a:t>iPMP</a:t>
            </a:r>
            <a:endParaRPr lang="fr-FR" sz="1600" dirty="0" smtClean="0"/>
          </a:p>
          <a:p>
            <a:endParaRPr lang="fr-FR" sz="1800" dirty="0" smtClean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Migration base de </a:t>
            </a:r>
            <a:r>
              <a:rPr lang="fr-FR" dirty="0" smtClean="0"/>
              <a:t>données (2/2)</a:t>
            </a:r>
            <a:endParaRPr lang="en-US" dirty="0"/>
          </a:p>
        </p:txBody>
      </p:sp>
      <p:sp>
        <p:nvSpPr>
          <p:cNvPr id="5" name="ZoneTexte 4"/>
          <p:cNvSpPr txBox="1"/>
          <p:nvPr/>
        </p:nvSpPr>
        <p:spPr>
          <a:xfrm>
            <a:off x="395536" y="4581128"/>
            <a:ext cx="8208912" cy="1797993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/>
          <a:lstStyle>
            <a:lvl1pPr marL="342900" indent="-342900">
              <a:lnSpc>
                <a:spcPct val="114000"/>
              </a:lnSpc>
              <a:spcBef>
                <a:spcPct val="20000"/>
              </a:spcBef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200"/>
            </a:lvl2pPr>
            <a:lvl3pPr marL="1143000" indent="-228600">
              <a:lnSpc>
                <a:spcPct val="114000"/>
              </a:lnSpc>
              <a:spcBef>
                <a:spcPct val="20000"/>
              </a:spcBef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spcBef>
                <a:spcPct val="20000"/>
              </a:spcBef>
              <a:buFont typeface="Arial" pitchFamily="34" charset="0"/>
              <a:buChar char="–"/>
              <a:defRPr b="1"/>
            </a:lvl4pPr>
            <a:lvl5pPr marL="1971675" indent="-142875">
              <a:lnSpc>
                <a:spcPct val="114000"/>
              </a:lnSpc>
              <a:spcBef>
                <a:spcPct val="20000"/>
              </a:spcBef>
              <a:buFont typeface="Arial" pitchFamily="34" charset="0"/>
              <a:buChar char="•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fr-FR" u="sng" dirty="0">
                <a:sym typeface="Wingdings" pitchFamily="2" charset="2"/>
              </a:rPr>
              <a:t>Info</a:t>
            </a:r>
            <a:r>
              <a:rPr lang="fr-FR" dirty="0">
                <a:sym typeface="Wingdings" pitchFamily="2" charset="2"/>
              </a:rPr>
              <a:t>: </a:t>
            </a:r>
            <a:r>
              <a:rPr lang="fr-FR" dirty="0" smtClean="0">
                <a:sym typeface="Wingdings" pitchFamily="2" charset="2"/>
              </a:rPr>
              <a:t>le message d’avertissement apparaît en cas de différence entre </a:t>
            </a:r>
            <a:r>
              <a:rPr lang="fr-FR" dirty="0">
                <a:sym typeface="Wingdings" pitchFamily="2" charset="2"/>
              </a:rPr>
              <a:t>les </a:t>
            </a:r>
            <a:r>
              <a:rPr lang="fr-FR" dirty="0" smtClean="0">
                <a:sym typeface="Wingdings" pitchFamily="2" charset="2"/>
              </a:rPr>
              <a:t>numéros de versions </a:t>
            </a:r>
            <a:r>
              <a:rPr lang="fr-FR" dirty="0">
                <a:sym typeface="Wingdings" pitchFamily="2" charset="2"/>
              </a:rPr>
              <a:t>en code et en base:</a:t>
            </a:r>
          </a:p>
          <a:p>
            <a:pPr lvl="2"/>
            <a:r>
              <a:rPr lang="fr-FR" dirty="0">
                <a:sym typeface="Wingdings" pitchFamily="2" charset="2"/>
              </a:rPr>
              <a:t>Code: </a:t>
            </a:r>
            <a:r>
              <a:rPr lang="fr-FR" dirty="0" smtClean="0">
                <a:sym typeface="Wingdings" pitchFamily="2" charset="2"/>
              </a:rPr>
              <a:t>{$home}/</a:t>
            </a:r>
            <a:r>
              <a:rPr lang="fr-FR" dirty="0" err="1" smtClean="0">
                <a:sym typeface="Wingdings" pitchFamily="2" charset="2"/>
              </a:rPr>
              <a:t>tool</a:t>
            </a:r>
            <a:r>
              <a:rPr lang="fr-FR" dirty="0" smtClean="0">
                <a:sym typeface="Wingdings" pitchFamily="2" charset="2"/>
              </a:rPr>
              <a:t>/</a:t>
            </a:r>
            <a:r>
              <a:rPr lang="fr-FR" dirty="0" err="1" smtClean="0">
                <a:sym typeface="Wingdings" pitchFamily="2" charset="2"/>
              </a:rPr>
              <a:t>projector.php</a:t>
            </a:r>
            <a:r>
              <a:rPr lang="fr-FR" dirty="0" smtClean="0">
                <a:sym typeface="Wingdings" pitchFamily="2" charset="2"/>
              </a:rPr>
              <a:t> </a:t>
            </a:r>
            <a:r>
              <a:rPr lang="fr-FR" dirty="0">
                <a:sym typeface="Wingdings" pitchFamily="2" charset="2"/>
              </a:rPr>
              <a:t>- </a:t>
            </a:r>
            <a:r>
              <a:rPr lang="fr-FR" dirty="0">
                <a:solidFill>
                  <a:schemeClr val="tx1"/>
                </a:solidFill>
                <a:sym typeface="Wingdings" pitchFamily="2" charset="2"/>
              </a:rPr>
              <a:t>$version </a:t>
            </a:r>
            <a:r>
              <a:rPr lang="fr-FR" dirty="0">
                <a:sym typeface="Wingdings" pitchFamily="2" charset="2"/>
              </a:rPr>
              <a:t>et </a:t>
            </a:r>
            <a:r>
              <a:rPr lang="fr-FR" dirty="0">
                <a:solidFill>
                  <a:schemeClr val="tx1"/>
                </a:solidFill>
                <a:sym typeface="Wingdings" pitchFamily="2" charset="2"/>
              </a:rPr>
              <a:t>$</a:t>
            </a:r>
            <a:r>
              <a:rPr lang="fr-FR" dirty="0" err="1">
                <a:solidFill>
                  <a:schemeClr val="tx1"/>
                </a:solidFill>
                <a:sym typeface="Wingdings" pitchFamily="2" charset="2"/>
              </a:rPr>
              <a:t>versionIpmp</a:t>
            </a:r>
            <a:r>
              <a:rPr lang="fr-FR" dirty="0">
                <a:solidFill>
                  <a:schemeClr val="tx1"/>
                </a:solidFill>
                <a:sym typeface="Wingdings" pitchFamily="2" charset="2"/>
              </a:rPr>
              <a:t> </a:t>
            </a:r>
          </a:p>
          <a:p>
            <a:pPr lvl="2"/>
            <a:r>
              <a:rPr lang="fr-FR" dirty="0">
                <a:sym typeface="Wingdings" pitchFamily="2" charset="2"/>
              </a:rPr>
              <a:t>Table </a:t>
            </a:r>
            <a:r>
              <a:rPr lang="fr-FR" dirty="0" smtClean="0">
                <a:sym typeface="Wingdings" pitchFamily="2" charset="2"/>
              </a:rPr>
              <a:t>‘</a:t>
            </a:r>
            <a:r>
              <a:rPr lang="fr-FR" dirty="0" err="1" smtClean="0">
                <a:sym typeface="Wingdings" pitchFamily="2" charset="2"/>
              </a:rPr>
              <a:t>parameters</a:t>
            </a:r>
            <a:r>
              <a:rPr lang="fr-FR" dirty="0" smtClean="0">
                <a:sym typeface="Wingdings" pitchFamily="2" charset="2"/>
              </a:rPr>
              <a:t>’ </a:t>
            </a:r>
            <a:r>
              <a:rPr lang="fr-FR" dirty="0">
                <a:sym typeface="Wingdings" pitchFamily="2" charset="2"/>
              </a:rPr>
              <a:t>– </a:t>
            </a:r>
            <a:r>
              <a:rPr lang="fr-FR" dirty="0" err="1">
                <a:solidFill>
                  <a:schemeClr val="tx1"/>
                </a:solidFill>
                <a:sym typeface="Wingdings" pitchFamily="2" charset="2"/>
              </a:rPr>
              <a:t>dbVersion</a:t>
            </a:r>
            <a:r>
              <a:rPr lang="fr-FR" dirty="0">
                <a:solidFill>
                  <a:schemeClr val="tx1"/>
                </a:solidFill>
                <a:sym typeface="Wingdings" pitchFamily="2" charset="2"/>
              </a:rPr>
              <a:t> </a:t>
            </a:r>
            <a:r>
              <a:rPr lang="fr-FR" dirty="0">
                <a:sym typeface="Wingdings" pitchFamily="2" charset="2"/>
              </a:rPr>
              <a:t>et </a:t>
            </a:r>
            <a:r>
              <a:rPr lang="fr-FR" dirty="0" err="1">
                <a:solidFill>
                  <a:schemeClr val="tx1"/>
                </a:solidFill>
                <a:sym typeface="Wingdings" pitchFamily="2" charset="2"/>
              </a:rPr>
              <a:t>dbVersionIpmp</a:t>
            </a:r>
            <a:endParaRPr lang="fr-FR" dirty="0">
              <a:solidFill>
                <a:schemeClr val="tx1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5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317822" y="1412776"/>
            <a:ext cx="8502650" cy="4679950"/>
          </a:xfrm>
        </p:spPr>
        <p:txBody>
          <a:bodyPr/>
          <a:lstStyle/>
          <a:p>
            <a:r>
              <a:rPr lang="fr-FR" sz="2000" dirty="0" smtClean="0"/>
              <a:t>Vérifier le bon fonctionnement de la nouvelle version</a:t>
            </a:r>
            <a:endParaRPr lang="fr-FR" sz="2000" dirty="0" smtClean="0"/>
          </a:p>
          <a:p>
            <a:pPr lvl="1"/>
            <a:r>
              <a:rPr lang="fr-FR" sz="2000" dirty="0" smtClean="0"/>
              <a:t>En cas de problème bloquant, recharger le </a:t>
            </a:r>
            <a:r>
              <a:rPr lang="fr-FR" sz="2000" dirty="0" err="1" smtClean="0"/>
              <a:t>snapshot</a:t>
            </a:r>
            <a:r>
              <a:rPr lang="fr-FR" sz="2000" dirty="0" smtClean="0"/>
              <a:t> de VM effectué lors de la préparation pour revenir en arrière</a:t>
            </a:r>
            <a:endParaRPr lang="fr-FR" sz="2000" dirty="0" smtClean="0"/>
          </a:p>
          <a:p>
            <a:r>
              <a:rPr lang="fr-FR" sz="2000" dirty="0" smtClean="0"/>
              <a:t>Ouvrir l’application aux utilisateurs</a:t>
            </a:r>
            <a:endParaRPr lang="fr-FR" sz="2000" dirty="0" smtClean="0"/>
          </a:p>
          <a:p>
            <a:endParaRPr lang="fr-FR" sz="2000" dirty="0" smtClean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Terminaison</a:t>
            </a:r>
            <a:endParaRPr lang="en-US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3068960"/>
            <a:ext cx="2457450" cy="1628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3068960"/>
            <a:ext cx="5095875" cy="158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01142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5816" y="2348880"/>
            <a:ext cx="3168352" cy="2053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294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jpeg"/></Relationships>
</file>

<file path=ppt/theme/theme1.xml><?xml version="1.0" encoding="utf-8"?>
<a:theme xmlns:a="http://schemas.openxmlformats.org/drawingml/2006/main" name="S4_0396_FR_Modele_PPT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 Parties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Capitaux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 Parties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Capitaux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 Parties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Capitaux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I</Template>
  <TotalTime>22517</TotalTime>
  <Words>254</Words>
  <Application>Microsoft Office PowerPoint</Application>
  <PresentationFormat>Affichage à l'écran (4:3)</PresentationFormat>
  <Paragraphs>42</Paragraphs>
  <Slides>8</Slides>
  <Notes>0</Notes>
  <HiddenSlides>0</HiddenSlides>
  <MMClips>0</MMClips>
  <ScaleCrop>false</ScaleCrop>
  <HeadingPairs>
    <vt:vector size="4" baseType="variant">
      <vt:variant>
        <vt:lpstr>Thème</vt:lpstr>
      </vt:variant>
      <vt:variant>
        <vt:i4>4</vt:i4>
      </vt:variant>
      <vt:variant>
        <vt:lpstr>Titres des diapositives</vt:lpstr>
      </vt:variant>
      <vt:variant>
        <vt:i4>8</vt:i4>
      </vt:variant>
    </vt:vector>
  </HeadingPairs>
  <TitlesOfParts>
    <vt:vector size="12" baseType="lpstr">
      <vt:lpstr>S4_0396_FR_Modele_PPT</vt:lpstr>
      <vt:lpstr>5 Parties</vt:lpstr>
      <vt:lpstr>4 Parties</vt:lpstr>
      <vt:lpstr>3 Parties</vt:lpstr>
      <vt:lpstr>Guide utilisateur iPMP</vt:lpstr>
      <vt:lpstr>Présentation PowerPoint</vt:lpstr>
      <vt:lpstr>Préparation</vt:lpstr>
      <vt:lpstr>Migration code source</vt:lpstr>
      <vt:lpstr>Migration base de données (1/2)</vt:lpstr>
      <vt:lpstr>Migration base de données (2/2)</vt:lpstr>
      <vt:lpstr>Terminaison</vt:lpstr>
      <vt:lpstr>Présentation PowerPoint</vt:lpstr>
    </vt:vector>
  </TitlesOfParts>
  <Company>SI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olopez</dc:creator>
  <cp:lastModifiedBy>DHI</cp:lastModifiedBy>
  <cp:revision>5636</cp:revision>
  <dcterms:created xsi:type="dcterms:W3CDTF">2011-03-15T22:20:48Z</dcterms:created>
  <dcterms:modified xsi:type="dcterms:W3CDTF">2013-09-23T13:58:04Z</dcterms:modified>
</cp:coreProperties>
</file>